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8"/>
  </p:notesMasterIdLst>
  <p:handoutMasterIdLst>
    <p:handoutMasterId r:id="rId19"/>
  </p:handoutMasterIdLst>
  <p:sldIdLst>
    <p:sldId id="546" r:id="rId7"/>
    <p:sldId id="2141411554" r:id="rId8"/>
    <p:sldId id="2141411555" r:id="rId9"/>
    <p:sldId id="2141411556" r:id="rId10"/>
    <p:sldId id="2141411557" r:id="rId11"/>
    <p:sldId id="2141411561" r:id="rId12"/>
    <p:sldId id="2141411558" r:id="rId13"/>
    <p:sldId id="2141411562" r:id="rId14"/>
    <p:sldId id="2141411559" r:id="rId15"/>
    <p:sldId id="2141411560" r:id="rId16"/>
    <p:sldId id="2141411444" r:id="rId17"/>
  </p:sldIdLst>
  <p:sldSz cx="12192000" cy="6858000"/>
  <p:notesSz cx="6670675" cy="9777413"/>
  <p:custDataLst>
    <p:tags r:id="rId20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3BCA11-1197-47C9-BB4C-9F4F3702DC73}" v="30" dt="2023-03-29T17:22:35.16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son, Kevin" userId="e60c6aad-8614-4884-8dc2-e8f78e5022b5" providerId="ADAL" clId="{CE0AAE48-8C34-4A60-9062-4735A12C06A4}"/>
    <pc:docChg chg="custSel modSld">
      <pc:chgData name="Hanson, Kevin" userId="e60c6aad-8614-4884-8dc2-e8f78e5022b5" providerId="ADAL" clId="{CE0AAE48-8C34-4A60-9062-4735A12C06A4}" dt="2023-03-01T20:32:18.336" v="880" actId="20577"/>
      <pc:docMkLst>
        <pc:docMk/>
      </pc:docMkLst>
      <pc:sldChg chg="addSp modSp mod">
        <pc:chgData name="Hanson, Kevin" userId="e60c6aad-8614-4884-8dc2-e8f78e5022b5" providerId="ADAL" clId="{CE0AAE48-8C34-4A60-9062-4735A12C06A4}" dt="2023-03-01T20:32:18.336" v="880" actId="20577"/>
        <pc:sldMkLst>
          <pc:docMk/>
          <pc:sldMk cId="1687315581" sldId="257"/>
        </pc:sldMkLst>
        <pc:spChg chg="mod">
          <ac:chgData name="Hanson, Kevin" userId="e60c6aad-8614-4884-8dc2-e8f78e5022b5" providerId="ADAL" clId="{CE0AAE48-8C34-4A60-9062-4735A12C06A4}" dt="2023-03-01T20:32:18.336" v="880" actId="20577"/>
          <ac:spMkLst>
            <pc:docMk/>
            <pc:sldMk cId="1687315581" sldId="257"/>
            <ac:spMk id="3" creationId="{A4F8B35C-CF2D-43D2-A9D4-724CC15952E3}"/>
          </ac:spMkLst>
        </pc:spChg>
        <pc:spChg chg="add mod">
          <ac:chgData name="Hanson, Kevin" userId="e60c6aad-8614-4884-8dc2-e8f78e5022b5" providerId="ADAL" clId="{CE0AAE48-8C34-4A60-9062-4735A12C06A4}" dt="2023-02-26T18:13:31.506" v="488" actId="255"/>
          <ac:spMkLst>
            <pc:docMk/>
            <pc:sldMk cId="1687315581" sldId="257"/>
            <ac:spMk id="4" creationId="{7B312017-1AFD-4024-9BCA-7C3345CBD26A}"/>
          </ac:spMkLst>
        </pc:spChg>
      </pc:sldChg>
      <pc:sldChg chg="addSp delSp modSp mod">
        <pc:chgData name="Hanson, Kevin" userId="e60c6aad-8614-4884-8dc2-e8f78e5022b5" providerId="ADAL" clId="{CE0AAE48-8C34-4A60-9062-4735A12C06A4}" dt="2023-02-26T19:48:25.154" v="517" actId="14100"/>
        <pc:sldMkLst>
          <pc:docMk/>
          <pc:sldMk cId="3081388721" sldId="2141411555"/>
        </pc:sldMkLst>
        <pc:picChg chg="del">
          <ac:chgData name="Hanson, Kevin" userId="e60c6aad-8614-4884-8dc2-e8f78e5022b5" providerId="ADAL" clId="{CE0AAE48-8C34-4A60-9062-4735A12C06A4}" dt="2023-02-26T19:47:52.610" v="511" actId="478"/>
          <ac:picMkLst>
            <pc:docMk/>
            <pc:sldMk cId="3081388721" sldId="2141411555"/>
            <ac:picMk id="6" creationId="{9D7E4C45-D5FB-48EB-AEB8-84CCF69CAD2C}"/>
          </ac:picMkLst>
        </pc:picChg>
        <pc:picChg chg="add mod">
          <ac:chgData name="Hanson, Kevin" userId="e60c6aad-8614-4884-8dc2-e8f78e5022b5" providerId="ADAL" clId="{CE0AAE48-8C34-4A60-9062-4735A12C06A4}" dt="2023-02-26T19:48:25.154" v="517" actId="14100"/>
          <ac:picMkLst>
            <pc:docMk/>
            <pc:sldMk cId="3081388721" sldId="2141411555"/>
            <ac:picMk id="7" creationId="{DFA411A8-F77B-40CC-B571-8C39662A5751}"/>
          </ac:picMkLst>
        </pc:picChg>
      </pc:sldChg>
      <pc:sldChg chg="addSp modSp mod">
        <pc:chgData name="Hanson, Kevin" userId="e60c6aad-8614-4884-8dc2-e8f78e5022b5" providerId="ADAL" clId="{CE0AAE48-8C34-4A60-9062-4735A12C06A4}" dt="2023-02-26T20:04:37.642" v="851" actId="6549"/>
        <pc:sldMkLst>
          <pc:docMk/>
          <pc:sldMk cId="141715169" sldId="2141411558"/>
        </pc:sldMkLst>
        <pc:spChg chg="add mod">
          <ac:chgData name="Hanson, Kevin" userId="e60c6aad-8614-4884-8dc2-e8f78e5022b5" providerId="ADAL" clId="{CE0AAE48-8C34-4A60-9062-4735A12C06A4}" dt="2023-02-26T20:04:08.302" v="832" actId="948"/>
          <ac:spMkLst>
            <pc:docMk/>
            <pc:sldMk cId="141715169" sldId="2141411558"/>
            <ac:spMk id="7" creationId="{E6E1359C-2A96-4EB3-A29A-39674BF0B9BA}"/>
          </ac:spMkLst>
        </pc:spChg>
        <pc:spChg chg="mod">
          <ac:chgData name="Hanson, Kevin" userId="e60c6aad-8614-4884-8dc2-e8f78e5022b5" providerId="ADAL" clId="{CE0AAE48-8C34-4A60-9062-4735A12C06A4}" dt="2023-02-26T20:04:37.642" v="851" actId="6549"/>
          <ac:spMkLst>
            <pc:docMk/>
            <pc:sldMk cId="141715169" sldId="2141411558"/>
            <ac:spMk id="10" creationId="{AFEF0F8A-EFBD-462D-8B4E-F023D228F6F0}"/>
          </ac:spMkLst>
        </pc:spChg>
      </pc:sldChg>
      <pc:sldChg chg="modSp mod">
        <pc:chgData name="Hanson, Kevin" userId="e60c6aad-8614-4884-8dc2-e8f78e5022b5" providerId="ADAL" clId="{CE0AAE48-8C34-4A60-9062-4735A12C06A4}" dt="2023-02-26T20:23:00.048" v="864" actId="20577"/>
        <pc:sldMkLst>
          <pc:docMk/>
          <pc:sldMk cId="3058621513" sldId="2141411574"/>
        </pc:sldMkLst>
        <pc:spChg chg="mod">
          <ac:chgData name="Hanson, Kevin" userId="e60c6aad-8614-4884-8dc2-e8f78e5022b5" providerId="ADAL" clId="{CE0AAE48-8C34-4A60-9062-4735A12C06A4}" dt="2023-02-26T20:23:00.048" v="864" actId="20577"/>
          <ac:spMkLst>
            <pc:docMk/>
            <pc:sldMk cId="3058621513" sldId="2141411574"/>
            <ac:spMk id="2" creationId="{1F7E61D6-0DF9-41B7-B5C6-67885B8912E3}"/>
          </ac:spMkLst>
        </pc:spChg>
      </pc:sldChg>
    </pc:docChg>
  </pc:docChgLst>
  <pc:docChgLst>
    <pc:chgData name="Hanson, Kevin" userId="e60c6aad-8614-4884-8dc2-e8f78e5022b5" providerId="ADAL" clId="{903BCA11-1197-47C9-BB4C-9F4F3702DC73}"/>
    <pc:docChg chg="undo custSel addSld delSld modSld">
      <pc:chgData name="Hanson, Kevin" userId="e60c6aad-8614-4884-8dc2-e8f78e5022b5" providerId="ADAL" clId="{903BCA11-1197-47C9-BB4C-9F4F3702DC73}" dt="2023-03-29T17:22:35.166" v="1412" actId="1076"/>
      <pc:docMkLst>
        <pc:docMk/>
      </pc:docMkLst>
      <pc:sldChg chg="del">
        <pc:chgData name="Hanson, Kevin" userId="e60c6aad-8614-4884-8dc2-e8f78e5022b5" providerId="ADAL" clId="{903BCA11-1197-47C9-BB4C-9F4F3702DC73}" dt="2023-03-28T20:38:47.565" v="69" actId="47"/>
        <pc:sldMkLst>
          <pc:docMk/>
          <pc:sldMk cId="1687315581" sldId="257"/>
        </pc:sldMkLst>
      </pc:sldChg>
      <pc:sldChg chg="delSp modSp mod">
        <pc:chgData name="Hanson, Kevin" userId="e60c6aad-8614-4884-8dc2-e8f78e5022b5" providerId="ADAL" clId="{903BCA11-1197-47C9-BB4C-9F4F3702DC73}" dt="2023-03-29T17:17:54.495" v="1335" actId="1076"/>
        <pc:sldMkLst>
          <pc:docMk/>
          <pc:sldMk cId="136374311" sldId="546"/>
        </pc:sldMkLst>
        <pc:spChg chg="mod">
          <ac:chgData name="Hanson, Kevin" userId="e60c6aad-8614-4884-8dc2-e8f78e5022b5" providerId="ADAL" clId="{903BCA11-1197-47C9-BB4C-9F4F3702DC73}" dt="2023-03-29T17:17:31.242" v="1319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Hanson, Kevin" userId="e60c6aad-8614-4884-8dc2-e8f78e5022b5" providerId="ADAL" clId="{903BCA11-1197-47C9-BB4C-9F4F3702DC73}" dt="2023-03-29T17:17:54.495" v="1335" actId="1076"/>
          <ac:spMkLst>
            <pc:docMk/>
            <pc:sldMk cId="136374311" sldId="546"/>
            <ac:spMk id="3" creationId="{00000000-0000-0000-0000-000000000000}"/>
          </ac:spMkLst>
        </pc:spChg>
        <pc:spChg chg="del">
          <ac:chgData name="Hanson, Kevin" userId="e60c6aad-8614-4884-8dc2-e8f78e5022b5" providerId="ADAL" clId="{903BCA11-1197-47C9-BB4C-9F4F3702DC73}" dt="2023-03-28T20:38:08.198" v="0" actId="478"/>
          <ac:spMkLst>
            <pc:docMk/>
            <pc:sldMk cId="136374311" sldId="546"/>
            <ac:spMk id="6" creationId="{2DD7D3F1-E005-410B-A0F7-9277B3C3501B}"/>
          </ac:spMkLst>
        </pc:spChg>
      </pc:sldChg>
      <pc:sldChg chg="delSp modSp mod">
        <pc:chgData name="Hanson, Kevin" userId="e60c6aad-8614-4884-8dc2-e8f78e5022b5" providerId="ADAL" clId="{903BCA11-1197-47C9-BB4C-9F4F3702DC73}" dt="2023-03-28T20:49:04.320" v="290" actId="20577"/>
        <pc:sldMkLst>
          <pc:docMk/>
          <pc:sldMk cId="3173487482" sldId="2141411554"/>
        </pc:sldMkLst>
        <pc:spChg chg="del">
          <ac:chgData name="Hanson, Kevin" userId="e60c6aad-8614-4884-8dc2-e8f78e5022b5" providerId="ADAL" clId="{903BCA11-1197-47C9-BB4C-9F4F3702DC73}" dt="2023-03-28T20:43:45.970" v="143" actId="478"/>
          <ac:spMkLst>
            <pc:docMk/>
            <pc:sldMk cId="3173487482" sldId="2141411554"/>
            <ac:spMk id="2" creationId="{E564452B-7F40-4751-8148-E435F1B1D415}"/>
          </ac:spMkLst>
        </pc:spChg>
        <pc:spChg chg="mod">
          <ac:chgData name="Hanson, Kevin" userId="e60c6aad-8614-4884-8dc2-e8f78e5022b5" providerId="ADAL" clId="{903BCA11-1197-47C9-BB4C-9F4F3702DC73}" dt="2023-03-28T20:49:04.320" v="290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del">
        <pc:chgData name="Hanson, Kevin" userId="e60c6aad-8614-4884-8dc2-e8f78e5022b5" providerId="ADAL" clId="{903BCA11-1197-47C9-BB4C-9F4F3702DC73}" dt="2023-03-28T20:38:37.848" v="48" actId="47"/>
        <pc:sldMkLst>
          <pc:docMk/>
          <pc:sldMk cId="3081388721" sldId="2141411555"/>
        </pc:sldMkLst>
      </pc:sldChg>
      <pc:sldChg chg="addSp delSp modSp new mod">
        <pc:chgData name="Hanson, Kevin" userId="e60c6aad-8614-4884-8dc2-e8f78e5022b5" providerId="ADAL" clId="{903BCA11-1197-47C9-BB4C-9F4F3702DC73}" dt="2023-03-28T21:03:25.457" v="363" actId="20577"/>
        <pc:sldMkLst>
          <pc:docMk/>
          <pc:sldMk cId="3914903359" sldId="2141411555"/>
        </pc:sldMkLst>
        <pc:spChg chg="del">
          <ac:chgData name="Hanson, Kevin" userId="e60c6aad-8614-4884-8dc2-e8f78e5022b5" providerId="ADAL" clId="{903BCA11-1197-47C9-BB4C-9F4F3702DC73}" dt="2023-03-28T20:49:15.184" v="292" actId="478"/>
          <ac:spMkLst>
            <pc:docMk/>
            <pc:sldMk cId="3914903359" sldId="2141411555"/>
            <ac:spMk id="2" creationId="{240F4701-92CF-4711-AAF7-BF2205DDCB85}"/>
          </ac:spMkLst>
        </pc:spChg>
        <pc:spChg chg="mod">
          <ac:chgData name="Hanson, Kevin" userId="e60c6aad-8614-4884-8dc2-e8f78e5022b5" providerId="ADAL" clId="{903BCA11-1197-47C9-BB4C-9F4F3702DC73}" dt="2023-03-28T21:03:25.457" v="363" actId="20577"/>
          <ac:spMkLst>
            <pc:docMk/>
            <pc:sldMk cId="3914903359" sldId="2141411555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0:50:06.310" v="293"/>
          <ac:spMkLst>
            <pc:docMk/>
            <pc:sldMk cId="3914903359" sldId="2141411555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8T21:02:37.002" v="300" actId="1076"/>
          <ac:picMkLst>
            <pc:docMk/>
            <pc:sldMk cId="3914903359" sldId="2141411555"/>
            <ac:picMk id="6" creationId="{08209DF2-4470-4DA0-B407-1729AA869CEE}"/>
          </ac:picMkLst>
        </pc:picChg>
      </pc:sldChg>
      <pc:sldChg chg="addSp delSp modSp add mod">
        <pc:chgData name="Hanson, Kevin" userId="e60c6aad-8614-4884-8dc2-e8f78e5022b5" providerId="ADAL" clId="{903BCA11-1197-47C9-BB4C-9F4F3702DC73}" dt="2023-03-28T21:16:09.716" v="816" actId="6549"/>
        <pc:sldMkLst>
          <pc:docMk/>
          <pc:sldMk cId="1086420740" sldId="2141411556"/>
        </pc:sldMkLst>
        <pc:spChg chg="mod">
          <ac:chgData name="Hanson, Kevin" userId="e60c6aad-8614-4884-8dc2-e8f78e5022b5" providerId="ADAL" clId="{903BCA11-1197-47C9-BB4C-9F4F3702DC73}" dt="2023-03-28T21:16:09.716" v="816" actId="6549"/>
          <ac:spMkLst>
            <pc:docMk/>
            <pc:sldMk cId="1086420740" sldId="2141411556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5:41.751" v="370"/>
          <ac:spMkLst>
            <pc:docMk/>
            <pc:sldMk cId="1086420740" sldId="2141411556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8T21:11:45.255" v="498" actId="1076"/>
          <ac:picMkLst>
            <pc:docMk/>
            <pc:sldMk cId="1086420740" sldId="2141411556"/>
            <ac:picMk id="5" creationId="{1A6CFFC7-3C5C-451C-B7EC-54612C1FB184}"/>
          </ac:picMkLst>
        </pc:picChg>
        <pc:picChg chg="del">
          <ac:chgData name="Hanson, Kevin" userId="e60c6aad-8614-4884-8dc2-e8f78e5022b5" providerId="ADAL" clId="{903BCA11-1197-47C9-BB4C-9F4F3702DC73}" dt="2023-03-28T21:05:38.249" v="369" actId="478"/>
          <ac:picMkLst>
            <pc:docMk/>
            <pc:sldMk cId="1086420740" sldId="2141411556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7.496" v="46" actId="47"/>
        <pc:sldMkLst>
          <pc:docMk/>
          <pc:sldMk cId="3401389234" sldId="2141411556"/>
        </pc:sldMkLst>
      </pc:sldChg>
      <pc:sldChg chg="del">
        <pc:chgData name="Hanson, Kevin" userId="e60c6aad-8614-4884-8dc2-e8f78e5022b5" providerId="ADAL" clId="{903BCA11-1197-47C9-BB4C-9F4F3702DC73}" dt="2023-03-28T20:38:37.294" v="45" actId="47"/>
        <pc:sldMkLst>
          <pc:docMk/>
          <pc:sldMk cId="22583931" sldId="2141411557"/>
        </pc:sldMkLst>
      </pc:sldChg>
      <pc:sldChg chg="delSp modSp add mod">
        <pc:chgData name="Hanson, Kevin" userId="e60c6aad-8614-4884-8dc2-e8f78e5022b5" providerId="ADAL" clId="{903BCA11-1197-47C9-BB4C-9F4F3702DC73}" dt="2023-03-29T17:18:17.721" v="1357" actId="20577"/>
        <pc:sldMkLst>
          <pc:docMk/>
          <pc:sldMk cId="1644287103" sldId="2141411557"/>
        </pc:sldMkLst>
        <pc:spChg chg="mod">
          <ac:chgData name="Hanson, Kevin" userId="e60c6aad-8614-4884-8dc2-e8f78e5022b5" providerId="ADAL" clId="{903BCA11-1197-47C9-BB4C-9F4F3702DC73}" dt="2023-03-29T17:18:17.721" v="1357" actId="20577"/>
          <ac:spMkLst>
            <pc:docMk/>
            <pc:sldMk cId="1644287103" sldId="2141411557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10.995" v="375"/>
          <ac:spMkLst>
            <pc:docMk/>
            <pc:sldMk cId="1644287103" sldId="2141411557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49.992" v="371" actId="478"/>
          <ac:picMkLst>
            <pc:docMk/>
            <pc:sldMk cId="1644287103" sldId="2141411557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7.652" v="47" actId="47"/>
        <pc:sldMkLst>
          <pc:docMk/>
          <pc:sldMk cId="141715169" sldId="2141411558"/>
        </pc:sldMkLst>
      </pc:sldChg>
      <pc:sldChg chg="delSp modSp add mod">
        <pc:chgData name="Hanson, Kevin" userId="e60c6aad-8614-4884-8dc2-e8f78e5022b5" providerId="ADAL" clId="{903BCA11-1197-47C9-BB4C-9F4F3702DC73}" dt="2023-03-28T21:26:26.831" v="950" actId="1076"/>
        <pc:sldMkLst>
          <pc:docMk/>
          <pc:sldMk cId="2694325457" sldId="2141411558"/>
        </pc:sldMkLst>
        <pc:spChg chg="mod">
          <ac:chgData name="Hanson, Kevin" userId="e60c6aad-8614-4884-8dc2-e8f78e5022b5" providerId="ADAL" clId="{903BCA11-1197-47C9-BB4C-9F4F3702DC73}" dt="2023-03-28T21:26:26.831" v="950" actId="1076"/>
          <ac:spMkLst>
            <pc:docMk/>
            <pc:sldMk cId="2694325457" sldId="2141411558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20.954" v="376"/>
          <ac:spMkLst>
            <pc:docMk/>
            <pc:sldMk cId="2694325457" sldId="2141411558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51.776" v="372" actId="478"/>
          <ac:picMkLst>
            <pc:docMk/>
            <pc:sldMk cId="2694325457" sldId="2141411558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8.427" v="50" actId="47"/>
        <pc:sldMkLst>
          <pc:docMk/>
          <pc:sldMk cId="292513581" sldId="2141411559"/>
        </pc:sldMkLst>
      </pc:sldChg>
      <pc:sldChg chg="addSp delSp modSp add mod">
        <pc:chgData name="Hanson, Kevin" userId="e60c6aad-8614-4884-8dc2-e8f78e5022b5" providerId="ADAL" clId="{903BCA11-1197-47C9-BB4C-9F4F3702DC73}" dt="2023-03-29T17:14:22.631" v="1315" actId="1076"/>
        <pc:sldMkLst>
          <pc:docMk/>
          <pc:sldMk cId="3444958256" sldId="2141411559"/>
        </pc:sldMkLst>
        <pc:spChg chg="add mod">
          <ac:chgData name="Hanson, Kevin" userId="e60c6aad-8614-4884-8dc2-e8f78e5022b5" providerId="ADAL" clId="{903BCA11-1197-47C9-BB4C-9F4F3702DC73}" dt="2023-03-29T17:14:22.631" v="1315" actId="1076"/>
          <ac:spMkLst>
            <pc:docMk/>
            <pc:sldMk cId="3444958256" sldId="2141411559"/>
            <ac:spMk id="2" creationId="{8946E13C-407F-424C-8817-905ED3AF0D6E}"/>
          </ac:spMkLst>
        </pc:spChg>
        <pc:spChg chg="del">
          <ac:chgData name="Hanson, Kevin" userId="e60c6aad-8614-4884-8dc2-e8f78e5022b5" providerId="ADAL" clId="{903BCA11-1197-47C9-BB4C-9F4F3702DC73}" dt="2023-03-29T17:11:50.708" v="1084" actId="478"/>
          <ac:spMkLst>
            <pc:docMk/>
            <pc:sldMk cId="3444958256" sldId="2141411559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39.819" v="377"/>
          <ac:spMkLst>
            <pc:docMk/>
            <pc:sldMk cId="3444958256" sldId="2141411559"/>
            <ac:spMk id="4" creationId="{1CCD6C1B-3C18-4BBD-9056-72F40A1C644D}"/>
          </ac:spMkLst>
        </pc:spChg>
        <pc:picChg chg="del">
          <ac:chgData name="Hanson, Kevin" userId="e60c6aad-8614-4884-8dc2-e8f78e5022b5" providerId="ADAL" clId="{903BCA11-1197-47C9-BB4C-9F4F3702DC73}" dt="2023-03-28T21:05:53.415" v="373" actId="478"/>
          <ac:picMkLst>
            <pc:docMk/>
            <pc:sldMk cId="3444958256" sldId="2141411559"/>
            <ac:picMk id="6" creationId="{08209DF2-4470-4DA0-B407-1729AA869CEE}"/>
          </ac:picMkLst>
        </pc:picChg>
        <pc:picChg chg="add mod">
          <ac:chgData name="Hanson, Kevin" userId="e60c6aad-8614-4884-8dc2-e8f78e5022b5" providerId="ADAL" clId="{903BCA11-1197-47C9-BB4C-9F4F3702DC73}" dt="2023-03-29T17:13:47.663" v="1266" actId="1076"/>
          <ac:picMkLst>
            <pc:docMk/>
            <pc:sldMk cId="3444958256" sldId="2141411559"/>
            <ac:picMk id="6" creationId="{CD1FD258-6D56-449D-ACAA-85009017CB23}"/>
          </ac:picMkLst>
        </pc:picChg>
      </pc:sldChg>
      <pc:sldChg chg="addSp delSp modSp add mod">
        <pc:chgData name="Hanson, Kevin" userId="e60c6aad-8614-4884-8dc2-e8f78e5022b5" providerId="ADAL" clId="{903BCA11-1197-47C9-BB4C-9F4F3702DC73}" dt="2023-03-29T17:22:35.166" v="1412" actId="1076"/>
        <pc:sldMkLst>
          <pc:docMk/>
          <pc:sldMk cId="1351952326" sldId="2141411560"/>
        </pc:sldMkLst>
        <pc:spChg chg="mod">
          <ac:chgData name="Hanson, Kevin" userId="e60c6aad-8614-4884-8dc2-e8f78e5022b5" providerId="ADAL" clId="{903BCA11-1197-47C9-BB4C-9F4F3702DC73}" dt="2023-03-29T17:22:35.166" v="1412" actId="1076"/>
          <ac:spMkLst>
            <pc:docMk/>
            <pc:sldMk cId="1351952326" sldId="2141411560"/>
            <ac:spMk id="3" creationId="{9EA6F890-192F-4495-95FE-E7EA7DADA00B}"/>
          </ac:spMkLst>
        </pc:spChg>
        <pc:spChg chg="mod">
          <ac:chgData name="Hanson, Kevin" userId="e60c6aad-8614-4884-8dc2-e8f78e5022b5" providerId="ADAL" clId="{903BCA11-1197-47C9-BB4C-9F4F3702DC73}" dt="2023-03-28T21:06:55.474" v="378"/>
          <ac:spMkLst>
            <pc:docMk/>
            <pc:sldMk cId="1351952326" sldId="2141411560"/>
            <ac:spMk id="4" creationId="{1CCD6C1B-3C18-4BBD-9056-72F40A1C644D}"/>
          </ac:spMkLst>
        </pc:spChg>
        <pc:picChg chg="add mod">
          <ac:chgData name="Hanson, Kevin" userId="e60c6aad-8614-4884-8dc2-e8f78e5022b5" providerId="ADAL" clId="{903BCA11-1197-47C9-BB4C-9F4F3702DC73}" dt="2023-03-29T17:22:31.556" v="1411" actId="1076"/>
          <ac:picMkLst>
            <pc:docMk/>
            <pc:sldMk cId="1351952326" sldId="2141411560"/>
            <ac:picMk id="5" creationId="{122E5052-E349-4F97-8BB6-12483247F989}"/>
          </ac:picMkLst>
        </pc:picChg>
        <pc:picChg chg="del">
          <ac:chgData name="Hanson, Kevin" userId="e60c6aad-8614-4884-8dc2-e8f78e5022b5" providerId="ADAL" clId="{903BCA11-1197-47C9-BB4C-9F4F3702DC73}" dt="2023-03-28T21:05:55.833" v="374" actId="478"/>
          <ac:picMkLst>
            <pc:docMk/>
            <pc:sldMk cId="1351952326" sldId="2141411560"/>
            <ac:picMk id="6" creationId="{08209DF2-4470-4DA0-B407-1729AA869CEE}"/>
          </ac:picMkLst>
        </pc:picChg>
      </pc:sldChg>
      <pc:sldChg chg="del">
        <pc:chgData name="Hanson, Kevin" userId="e60c6aad-8614-4884-8dc2-e8f78e5022b5" providerId="ADAL" clId="{903BCA11-1197-47C9-BB4C-9F4F3702DC73}" dt="2023-03-28T20:38:38.794" v="51" actId="47"/>
        <pc:sldMkLst>
          <pc:docMk/>
          <pc:sldMk cId="3180769904" sldId="2141411560"/>
        </pc:sldMkLst>
      </pc:sldChg>
      <pc:sldChg chg="del">
        <pc:chgData name="Hanson, Kevin" userId="e60c6aad-8614-4884-8dc2-e8f78e5022b5" providerId="ADAL" clId="{903BCA11-1197-47C9-BB4C-9F4F3702DC73}" dt="2023-03-28T20:38:39.116" v="52" actId="47"/>
        <pc:sldMkLst>
          <pc:docMk/>
          <pc:sldMk cId="385855627" sldId="2141411561"/>
        </pc:sldMkLst>
      </pc:sldChg>
      <pc:sldChg chg="addSp modSp add mod">
        <pc:chgData name="Hanson, Kevin" userId="e60c6aad-8614-4884-8dc2-e8f78e5022b5" providerId="ADAL" clId="{903BCA11-1197-47C9-BB4C-9F4F3702DC73}" dt="2023-03-28T21:22:56.936" v="945" actId="1076"/>
        <pc:sldMkLst>
          <pc:docMk/>
          <pc:sldMk cId="678589554" sldId="2141411561"/>
        </pc:sldMkLst>
        <pc:spChg chg="mod">
          <ac:chgData name="Hanson, Kevin" userId="e60c6aad-8614-4884-8dc2-e8f78e5022b5" providerId="ADAL" clId="{903BCA11-1197-47C9-BB4C-9F4F3702DC73}" dt="2023-03-28T21:22:56.936" v="945" actId="1076"/>
          <ac:spMkLst>
            <pc:docMk/>
            <pc:sldMk cId="678589554" sldId="2141411561"/>
            <ac:spMk id="3" creationId="{9EA6F890-192F-4495-95FE-E7EA7DADA00B}"/>
          </ac:spMkLst>
        </pc:spChg>
        <pc:picChg chg="add mod">
          <ac:chgData name="Hanson, Kevin" userId="e60c6aad-8614-4884-8dc2-e8f78e5022b5" providerId="ADAL" clId="{903BCA11-1197-47C9-BB4C-9F4F3702DC73}" dt="2023-03-28T21:22:56.111" v="944" actId="1076"/>
          <ac:picMkLst>
            <pc:docMk/>
            <pc:sldMk cId="678589554" sldId="2141411561"/>
            <ac:picMk id="5" creationId="{3AA75F22-C87A-444D-ACD4-FC0854FB466B}"/>
          </ac:picMkLst>
        </pc:picChg>
      </pc:sldChg>
      <pc:sldChg chg="del">
        <pc:chgData name="Hanson, Kevin" userId="e60c6aad-8614-4884-8dc2-e8f78e5022b5" providerId="ADAL" clId="{903BCA11-1197-47C9-BB4C-9F4F3702DC73}" dt="2023-03-28T20:38:39.781" v="54" actId="47"/>
        <pc:sldMkLst>
          <pc:docMk/>
          <pc:sldMk cId="2530082049" sldId="2141411562"/>
        </pc:sldMkLst>
      </pc:sldChg>
      <pc:sldChg chg="addSp modSp add mod">
        <pc:chgData name="Hanson, Kevin" userId="e60c6aad-8614-4884-8dc2-e8f78e5022b5" providerId="ADAL" clId="{903BCA11-1197-47C9-BB4C-9F4F3702DC73}" dt="2023-03-28T21:29:23.366" v="1083" actId="14100"/>
        <pc:sldMkLst>
          <pc:docMk/>
          <pc:sldMk cId="2751850254" sldId="2141411562"/>
        </pc:sldMkLst>
        <pc:spChg chg="mod">
          <ac:chgData name="Hanson, Kevin" userId="e60c6aad-8614-4884-8dc2-e8f78e5022b5" providerId="ADAL" clId="{903BCA11-1197-47C9-BB4C-9F4F3702DC73}" dt="2023-03-28T21:29:23.366" v="1083" actId="14100"/>
          <ac:spMkLst>
            <pc:docMk/>
            <pc:sldMk cId="2751850254" sldId="2141411562"/>
            <ac:spMk id="3" creationId="{9EA6F890-192F-4495-95FE-E7EA7DADA00B}"/>
          </ac:spMkLst>
        </pc:spChg>
        <pc:picChg chg="add mod">
          <ac:chgData name="Hanson, Kevin" userId="e60c6aad-8614-4884-8dc2-e8f78e5022b5" providerId="ADAL" clId="{903BCA11-1197-47C9-BB4C-9F4F3702DC73}" dt="2023-03-28T21:29:00.802" v="1063" actId="14100"/>
          <ac:picMkLst>
            <pc:docMk/>
            <pc:sldMk cId="2751850254" sldId="2141411562"/>
            <ac:picMk id="5" creationId="{697DD181-19BF-4072-B7A6-D70BD468216E}"/>
          </ac:picMkLst>
        </pc:picChg>
      </pc:sldChg>
      <pc:sldChg chg="del">
        <pc:chgData name="Hanson, Kevin" userId="e60c6aad-8614-4884-8dc2-e8f78e5022b5" providerId="ADAL" clId="{903BCA11-1197-47C9-BB4C-9F4F3702DC73}" dt="2023-03-28T20:38:39.965" v="55" actId="47"/>
        <pc:sldMkLst>
          <pc:docMk/>
          <pc:sldMk cId="3940105943" sldId="2141411566"/>
        </pc:sldMkLst>
      </pc:sldChg>
      <pc:sldChg chg="del">
        <pc:chgData name="Hanson, Kevin" userId="e60c6aad-8614-4884-8dc2-e8f78e5022b5" providerId="ADAL" clId="{903BCA11-1197-47C9-BB4C-9F4F3702DC73}" dt="2023-03-28T20:38:43.164" v="66" actId="47"/>
        <pc:sldMkLst>
          <pc:docMk/>
          <pc:sldMk cId="1954725469" sldId="2141411567"/>
        </pc:sldMkLst>
      </pc:sldChg>
      <pc:sldChg chg="del">
        <pc:chgData name="Hanson, Kevin" userId="e60c6aad-8614-4884-8dc2-e8f78e5022b5" providerId="ADAL" clId="{903BCA11-1197-47C9-BB4C-9F4F3702DC73}" dt="2023-03-28T20:38:40.896" v="58" actId="47"/>
        <pc:sldMkLst>
          <pc:docMk/>
          <pc:sldMk cId="1297516391" sldId="2141411568"/>
        </pc:sldMkLst>
      </pc:sldChg>
      <pc:sldChg chg="del">
        <pc:chgData name="Hanson, Kevin" userId="e60c6aad-8614-4884-8dc2-e8f78e5022b5" providerId="ADAL" clId="{903BCA11-1197-47C9-BB4C-9F4F3702DC73}" dt="2023-03-28T20:38:40.704" v="57" actId="47"/>
        <pc:sldMkLst>
          <pc:docMk/>
          <pc:sldMk cId="3314498188" sldId="2141411570"/>
        </pc:sldMkLst>
      </pc:sldChg>
      <pc:sldChg chg="del">
        <pc:chgData name="Hanson, Kevin" userId="e60c6aad-8614-4884-8dc2-e8f78e5022b5" providerId="ADAL" clId="{903BCA11-1197-47C9-BB4C-9F4F3702DC73}" dt="2023-03-28T20:38:41.682" v="60" actId="47"/>
        <pc:sldMkLst>
          <pc:docMk/>
          <pc:sldMk cId="4060944285" sldId="2141411571"/>
        </pc:sldMkLst>
      </pc:sldChg>
      <pc:sldChg chg="del">
        <pc:chgData name="Hanson, Kevin" userId="e60c6aad-8614-4884-8dc2-e8f78e5022b5" providerId="ADAL" clId="{903BCA11-1197-47C9-BB4C-9F4F3702DC73}" dt="2023-03-28T20:38:41.351" v="59" actId="47"/>
        <pc:sldMkLst>
          <pc:docMk/>
          <pc:sldMk cId="2760677837" sldId="2141411572"/>
        </pc:sldMkLst>
      </pc:sldChg>
      <pc:sldChg chg="del">
        <pc:chgData name="Hanson, Kevin" userId="e60c6aad-8614-4884-8dc2-e8f78e5022b5" providerId="ADAL" clId="{903BCA11-1197-47C9-BB4C-9F4F3702DC73}" dt="2023-03-28T20:38:46.783" v="68" actId="47"/>
        <pc:sldMkLst>
          <pc:docMk/>
          <pc:sldMk cId="3058621513" sldId="2141411574"/>
        </pc:sldMkLst>
      </pc:sldChg>
      <pc:sldChg chg="del">
        <pc:chgData name="Hanson, Kevin" userId="e60c6aad-8614-4884-8dc2-e8f78e5022b5" providerId="ADAL" clId="{903BCA11-1197-47C9-BB4C-9F4F3702DC73}" dt="2023-03-28T20:38:42.197" v="62" actId="47"/>
        <pc:sldMkLst>
          <pc:docMk/>
          <pc:sldMk cId="3072003594" sldId="2141411575"/>
        </pc:sldMkLst>
      </pc:sldChg>
      <pc:sldChg chg="del">
        <pc:chgData name="Hanson, Kevin" userId="e60c6aad-8614-4884-8dc2-e8f78e5022b5" providerId="ADAL" clId="{903BCA11-1197-47C9-BB4C-9F4F3702DC73}" dt="2023-03-28T20:38:45.581" v="67" actId="47"/>
        <pc:sldMkLst>
          <pc:docMk/>
          <pc:sldMk cId="3674008762" sldId="2141411576"/>
        </pc:sldMkLst>
      </pc:sldChg>
      <pc:sldChg chg="del">
        <pc:chgData name="Hanson, Kevin" userId="e60c6aad-8614-4884-8dc2-e8f78e5022b5" providerId="ADAL" clId="{903BCA11-1197-47C9-BB4C-9F4F3702DC73}" dt="2023-03-28T20:38:41.841" v="61" actId="47"/>
        <pc:sldMkLst>
          <pc:docMk/>
          <pc:sldMk cId="1145348421" sldId="2141411577"/>
        </pc:sldMkLst>
      </pc:sldChg>
      <pc:sldChg chg="del">
        <pc:chgData name="Hanson, Kevin" userId="e60c6aad-8614-4884-8dc2-e8f78e5022b5" providerId="ADAL" clId="{903BCA11-1197-47C9-BB4C-9F4F3702DC73}" dt="2023-03-28T20:38:40.404" v="56" actId="47"/>
        <pc:sldMkLst>
          <pc:docMk/>
          <pc:sldMk cId="1922580198" sldId="2141411579"/>
        </pc:sldMkLst>
      </pc:sldChg>
      <pc:sldChg chg="del">
        <pc:chgData name="Hanson, Kevin" userId="e60c6aad-8614-4884-8dc2-e8f78e5022b5" providerId="ADAL" clId="{903BCA11-1197-47C9-BB4C-9F4F3702DC73}" dt="2023-03-28T20:38:39.446" v="53" actId="47"/>
        <pc:sldMkLst>
          <pc:docMk/>
          <pc:sldMk cId="69982838" sldId="2141411580"/>
        </pc:sldMkLst>
      </pc:sldChg>
      <pc:sldChg chg="del">
        <pc:chgData name="Hanson, Kevin" userId="e60c6aad-8614-4884-8dc2-e8f78e5022b5" providerId="ADAL" clId="{903BCA11-1197-47C9-BB4C-9F4F3702DC73}" dt="2023-03-28T20:38:38.015" v="49" actId="47"/>
        <pc:sldMkLst>
          <pc:docMk/>
          <pc:sldMk cId="2821583136" sldId="2141411581"/>
        </pc:sldMkLst>
      </pc:sldChg>
      <pc:sldChg chg="del">
        <pc:chgData name="Hanson, Kevin" userId="e60c6aad-8614-4884-8dc2-e8f78e5022b5" providerId="ADAL" clId="{903BCA11-1197-47C9-BB4C-9F4F3702DC73}" dt="2023-03-28T20:38:42.581" v="63" actId="47"/>
        <pc:sldMkLst>
          <pc:docMk/>
          <pc:sldMk cId="2067499809" sldId="2141411583"/>
        </pc:sldMkLst>
      </pc:sldChg>
      <pc:sldChg chg="del">
        <pc:chgData name="Hanson, Kevin" userId="e60c6aad-8614-4884-8dc2-e8f78e5022b5" providerId="ADAL" clId="{903BCA11-1197-47C9-BB4C-9F4F3702DC73}" dt="2023-03-28T20:38:42.769" v="64" actId="47"/>
        <pc:sldMkLst>
          <pc:docMk/>
          <pc:sldMk cId="2154686554" sldId="2141411584"/>
        </pc:sldMkLst>
      </pc:sldChg>
      <pc:sldChg chg="del">
        <pc:chgData name="Hanson, Kevin" userId="e60c6aad-8614-4884-8dc2-e8f78e5022b5" providerId="ADAL" clId="{903BCA11-1197-47C9-BB4C-9F4F3702DC73}" dt="2023-03-28T20:38:42.970" v="65" actId="47"/>
        <pc:sldMkLst>
          <pc:docMk/>
          <pc:sldMk cId="2878579579" sldId="2141411585"/>
        </pc:sldMkLst>
      </pc:sldChg>
      <pc:sldMasterChg chg="delSldLayout">
        <pc:chgData name="Hanson, Kevin" userId="e60c6aad-8614-4884-8dc2-e8f78e5022b5" providerId="ADAL" clId="{903BCA11-1197-47C9-BB4C-9F4F3702DC73}" dt="2023-03-28T20:38:47.565" v="69" actId="47"/>
        <pc:sldMasterMkLst>
          <pc:docMk/>
          <pc:sldMasterMk cId="0" sldId="2147483651"/>
        </pc:sldMasterMkLst>
        <pc:sldLayoutChg chg="del">
          <pc:chgData name="Hanson, Kevin" userId="e60c6aad-8614-4884-8dc2-e8f78e5022b5" providerId="ADAL" clId="{903BCA11-1197-47C9-BB4C-9F4F3702DC73}" dt="2023-03-28T20:38:47.565" v="69" actId="47"/>
          <pc:sldLayoutMkLst>
            <pc:docMk/>
            <pc:sldMasterMk cId="0" sldId="2147483651"/>
            <pc:sldLayoutMk cId="1271749244" sldId="2147483830"/>
          </pc:sldLayoutMkLst>
        </pc:sldLayoutChg>
      </pc:sldMasterChg>
    </pc:docChg>
  </pc:docChgLst>
  <pc:docChgLst>
    <pc:chgData name="Hanson, Kevin" userId="e60c6aad-8614-4884-8dc2-e8f78e5022b5" providerId="ADAL" clId="{0D7E55F9-97E2-4E41-B7AC-C038EF874D60}"/>
    <pc:docChg chg="custSel modSld sldOrd">
      <pc:chgData name="Hanson, Kevin" userId="e60c6aad-8614-4884-8dc2-e8f78e5022b5" providerId="ADAL" clId="{0D7E55F9-97E2-4E41-B7AC-C038EF874D60}" dt="2023-03-02T18:27:11.776" v="5" actId="478"/>
      <pc:docMkLst>
        <pc:docMk/>
      </pc:docMkLst>
      <pc:sldChg chg="ord">
        <pc:chgData name="Hanson, Kevin" userId="e60c6aad-8614-4884-8dc2-e8f78e5022b5" providerId="ADAL" clId="{0D7E55F9-97E2-4E41-B7AC-C038EF874D60}" dt="2023-03-02T18:27:00.557" v="1"/>
        <pc:sldMkLst>
          <pc:docMk/>
          <pc:sldMk cId="3674008762" sldId="2141411576"/>
        </pc:sldMkLst>
      </pc:sldChg>
      <pc:sldChg chg="delSp mod">
        <pc:chgData name="Hanson, Kevin" userId="e60c6aad-8614-4884-8dc2-e8f78e5022b5" providerId="ADAL" clId="{0D7E55F9-97E2-4E41-B7AC-C038EF874D60}" dt="2023-03-02T18:27:09.728" v="4" actId="478"/>
        <pc:sldMkLst>
          <pc:docMk/>
          <pc:sldMk cId="2067499809" sldId="2141411583"/>
        </pc:sldMkLst>
        <pc:picChg chg="del">
          <ac:chgData name="Hanson, Kevin" userId="e60c6aad-8614-4884-8dc2-e8f78e5022b5" providerId="ADAL" clId="{0D7E55F9-97E2-4E41-B7AC-C038EF874D60}" dt="2023-03-02T18:27:09.728" v="4" actId="478"/>
          <ac:picMkLst>
            <pc:docMk/>
            <pc:sldMk cId="2067499809" sldId="2141411583"/>
            <ac:picMk id="27" creationId="{230234FC-498A-40FB-BBCF-B2C8683E6A0C}"/>
          </ac:picMkLst>
        </pc:picChg>
      </pc:sldChg>
      <pc:sldChg chg="delSp mod">
        <pc:chgData name="Hanson, Kevin" userId="e60c6aad-8614-4884-8dc2-e8f78e5022b5" providerId="ADAL" clId="{0D7E55F9-97E2-4E41-B7AC-C038EF874D60}" dt="2023-03-02T18:27:11.776" v="5" actId="478"/>
        <pc:sldMkLst>
          <pc:docMk/>
          <pc:sldMk cId="2154686554" sldId="2141411584"/>
        </pc:sldMkLst>
        <pc:picChg chg="del">
          <ac:chgData name="Hanson, Kevin" userId="e60c6aad-8614-4884-8dc2-e8f78e5022b5" providerId="ADAL" clId="{0D7E55F9-97E2-4E41-B7AC-C038EF874D60}" dt="2023-03-02T18:27:11.776" v="5" actId="478"/>
          <ac:picMkLst>
            <pc:docMk/>
            <pc:sldMk cId="2154686554" sldId="2141411584"/>
            <ac:picMk id="24" creationId="{FF88DDD0-4D0A-4285-8D01-395416147904}"/>
          </ac:picMkLst>
        </pc:picChg>
      </pc:sldChg>
      <pc:sldChg chg="ord">
        <pc:chgData name="Hanson, Kevin" userId="e60c6aad-8614-4884-8dc2-e8f78e5022b5" providerId="ADAL" clId="{0D7E55F9-97E2-4E41-B7AC-C038EF874D60}" dt="2023-03-02T18:27:02.177" v="3"/>
        <pc:sldMkLst>
          <pc:docMk/>
          <pc:sldMk cId="2878579579" sldId="214141158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30/03/2023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30/03/2023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8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3.xml"/><Relationship Id="rId9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Supply Analysis Working Group Update</a:t>
            </a:r>
            <a:br>
              <a:rPr lang="en-GB" dirty="0"/>
            </a:br>
            <a:r>
              <a:rPr lang="en-GB" dirty="0"/>
              <a:t>April 2023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846659"/>
          </a:xfrm>
        </p:spPr>
        <p:txBody>
          <a:bodyPr/>
          <a:lstStyle/>
          <a:p>
            <a:r>
              <a:rPr lang="en-GB" b="0" dirty="0"/>
              <a:t>April 5, 2023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Pete Warnken (ERCOT) Co-Vice Chair</a:t>
            </a:r>
          </a:p>
          <a:p>
            <a:r>
              <a:rPr lang="en-GB" b="0" dirty="0"/>
              <a:t>Ian Haley        (</a:t>
            </a:r>
            <a:r>
              <a:rPr lang="en-GB" b="0" dirty="0" err="1"/>
              <a:t>Vistra</a:t>
            </a:r>
            <a:r>
              <a:rPr lang="en-GB" b="0" dirty="0"/>
              <a:t>) Co-Vice Chair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0953" y="1172269"/>
            <a:ext cx="3629247" cy="4334520"/>
          </a:xfrm>
        </p:spPr>
        <p:txBody>
          <a:bodyPr/>
          <a:lstStyle/>
          <a:p>
            <a:r>
              <a:rPr lang="en-US" sz="1600" dirty="0"/>
              <a:t>LFLs in SAR and CDR</a:t>
            </a:r>
          </a:p>
          <a:p>
            <a:r>
              <a:rPr lang="en-US" sz="1600" u="sng" dirty="0"/>
              <a:t>In SARA:</a:t>
            </a:r>
          </a:p>
          <a:p>
            <a:pPr lvl="1"/>
            <a:r>
              <a:rPr lang="en-US" sz="1050" dirty="0"/>
              <a:t>TDSP connected LFLs are currently baked into load forecast.</a:t>
            </a:r>
          </a:p>
          <a:p>
            <a:pPr lvl="1"/>
            <a:r>
              <a:rPr lang="en-US" sz="1050" dirty="0"/>
              <a:t>Co-located LFLs have their own line item and methodology outlined in the report.</a:t>
            </a:r>
          </a:p>
          <a:p>
            <a:r>
              <a:rPr lang="en-US" sz="1600" u="sng" dirty="0"/>
              <a:t>In CDR:</a:t>
            </a:r>
          </a:p>
          <a:p>
            <a:pPr lvl="1"/>
            <a:r>
              <a:rPr lang="en-US" sz="1050" dirty="0"/>
              <a:t>TDSP connected LFLs are currently baked into load forecast.</a:t>
            </a:r>
          </a:p>
          <a:p>
            <a:pPr lvl="1"/>
            <a:r>
              <a:rPr lang="en-US" sz="1050" dirty="0"/>
              <a:t>Future TDSP connected LFL projections are 700 MW/year</a:t>
            </a:r>
          </a:p>
          <a:p>
            <a:pPr lvl="1"/>
            <a:r>
              <a:rPr lang="en-US" sz="1050" dirty="0"/>
              <a:t>Co-located LFLs are included in PUN contribution</a:t>
            </a:r>
          </a:p>
          <a:p>
            <a:r>
              <a:rPr lang="en-US" sz="1600" dirty="0"/>
              <a:t>Currently working on draft NPRR language to separate TDSP connected LFLs into its own line item in CDR. SARA will follow suit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Large Flexible Load Updat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2E5052-E349-4F97-8BB6-12483247F9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959" y="931281"/>
            <a:ext cx="7184235" cy="535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95232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9593887" cy="2503249"/>
          </a:xfrm>
        </p:spPr>
        <p:txBody>
          <a:bodyPr/>
          <a:lstStyle/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Annual DG Report Status (Clayton Stice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liability Standard Framework Study (Pete Warnken)</a:t>
            </a:r>
            <a:endParaRPr lang="en-US" sz="1600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serve Margin Study Status (Juli</a:t>
            </a: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e Jin)</a:t>
            </a:r>
            <a:endParaRPr lang="en-US" sz="16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Spring SARA Highlights (Pete Warnken)</a:t>
            </a:r>
            <a:endParaRPr lang="en-US" sz="1600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‘Monthly Assessment of Resource Adequacy’ Planning Update (Pete Warnken / Dan Mantena)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Large Flexible Load Update (Evan Neel)</a:t>
            </a:r>
            <a:endParaRPr lang="en-US" sz="20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3140516" cy="1107996"/>
          </a:xfrm>
        </p:spPr>
        <p:txBody>
          <a:bodyPr/>
          <a:lstStyle/>
          <a:p>
            <a:r>
              <a:rPr lang="en-US" dirty="0"/>
              <a:t>No new SODG renewables added in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Annual DG Report Status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209DF2-4470-4DA0-B407-1729AA869C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9115" y="1244144"/>
            <a:ext cx="7261568" cy="5367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90335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3140516" cy="4473019"/>
          </a:xfrm>
        </p:spPr>
        <p:txBody>
          <a:bodyPr/>
          <a:lstStyle/>
          <a:p>
            <a:r>
              <a:rPr lang="en-US" dirty="0"/>
              <a:t>The study process was discussed at SAWG</a:t>
            </a:r>
          </a:p>
          <a:p>
            <a:r>
              <a:rPr lang="en-US" dirty="0"/>
              <a:t>Next steps include a new VOLL study</a:t>
            </a:r>
          </a:p>
          <a:p>
            <a:r>
              <a:rPr lang="en-US" dirty="0"/>
              <a:t>An update on the progress will be made to stakeholder meetings and the Board in April and June 202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liability Standard Framework Study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6CFFC7-3C5C-451C-B7EC-54612C1FB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163" y="1332185"/>
            <a:ext cx="6536911" cy="4847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42074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0739495" cy="4144724"/>
          </a:xfrm>
        </p:spPr>
        <p:txBody>
          <a:bodyPr/>
          <a:lstStyle/>
          <a:p>
            <a:r>
              <a:rPr lang="en-US" dirty="0"/>
              <a:t>Updating SERVM model inputs to develop base-case: load forecast, generation resources, PUNs and hydro modeling</a:t>
            </a:r>
          </a:p>
          <a:p>
            <a:r>
              <a:rPr lang="en-US" dirty="0"/>
              <a:t>Collecting and processing generator outage data; some responses to the data request excluded reserve shutdown events, which should be included in NERC Generator Availability Data System (GADS) data submissions</a:t>
            </a:r>
          </a:p>
          <a:p>
            <a:r>
              <a:rPr lang="en-US" dirty="0"/>
              <a:t>Multiple sensitivities being proposed (shown on next slide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serve Margin Study Stat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28710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08752"/>
            <a:ext cx="10739495" cy="94384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serve Margin Study Statu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A75F22-C87A-444D-ACD4-FC0854FB4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9293" y="1039760"/>
            <a:ext cx="7553414" cy="5573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58955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186580"/>
            <a:ext cx="10684316" cy="10629309"/>
          </a:xfrm>
        </p:spPr>
        <p:txBody>
          <a:bodyPr/>
          <a:lstStyle/>
          <a:p>
            <a:r>
              <a:rPr lang="en-US" dirty="0"/>
              <a:t>Increased April and May peak load forecasts, 1.5 GW and 5.2 GW, respectively</a:t>
            </a:r>
          </a:p>
          <a:p>
            <a:r>
              <a:rPr lang="en-US" dirty="0"/>
              <a:t>Increased solar and wind: 4.1 GW and 1.4 GW, respectively</a:t>
            </a:r>
          </a:p>
          <a:p>
            <a:r>
              <a:rPr lang="en-US" dirty="0"/>
              <a:t>Increased EEA resources available during reserve scarcity conditions: 0.8 GW, mainly from distribution voltage reduction and curtailable Large Flexible Loads (LFLs)</a:t>
            </a:r>
          </a:p>
          <a:p>
            <a:r>
              <a:rPr lang="en-US" dirty="0"/>
              <a:t>Capacity contribution for battery storage: 0.9 GW</a:t>
            </a:r>
          </a:p>
          <a:p>
            <a:r>
              <a:rPr lang="en-US" dirty="0"/>
              <a:t>Decreased thermal resource capacity: units on extended outage and summer mothball schedules total 1.2 GW, co-located Large Flexible Loads reduce thermal capacity by 0.6 G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Spring SARA Highligh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32545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186580"/>
            <a:ext cx="3432179" cy="3574606"/>
          </a:xfrm>
        </p:spPr>
        <p:txBody>
          <a:bodyPr/>
          <a:lstStyle/>
          <a:p>
            <a:r>
              <a:rPr lang="en-US" dirty="0"/>
              <a:t>Risk Scenarios for March-April and May were presented</a:t>
            </a:r>
          </a:p>
          <a:p>
            <a:r>
              <a:rPr lang="en-US" dirty="0"/>
              <a:t>Battery Energy Storage Contribution (Interim) was discussed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Spring SARA Highlights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7DD181-19BF-4072-B7A6-D70BD46821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5991" y="874986"/>
            <a:ext cx="7534954" cy="5553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85025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‘Monthly Assessment of Resource Adequacy’ Planning Update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946E13C-407F-424C-8817-905ED3AF0D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514605"/>
            <a:ext cx="3897261" cy="4308872"/>
          </a:xfrm>
        </p:spPr>
        <p:txBody>
          <a:bodyPr/>
          <a:lstStyle/>
          <a:p>
            <a:r>
              <a:rPr lang="en-US" sz="2000" dirty="0"/>
              <a:t>Posts the reports 2 months prior to the reporting month</a:t>
            </a:r>
          </a:p>
          <a:p>
            <a:r>
              <a:rPr lang="en-US" sz="2000" dirty="0"/>
              <a:t>Planning to release the first monthly report in September (for the November reporting month)</a:t>
            </a:r>
          </a:p>
          <a:p>
            <a:r>
              <a:rPr lang="en-US" sz="2000" dirty="0"/>
              <a:t>Planning for an on-line dashboard</a:t>
            </a:r>
          </a:p>
          <a:p>
            <a:r>
              <a:rPr lang="en-US" sz="2000" dirty="0"/>
              <a:t>ERCOT is looking for feedback on the Monthly Assessment of Resource Adequacy (MARA) update prior to the next meet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1FD258-6D56-449D-ACAA-85009017CB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2454" y="1078495"/>
            <a:ext cx="6817441" cy="5084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95825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1458</TotalTime>
  <Words>472</Words>
  <Application>Microsoft Office PowerPoint</Application>
  <PresentationFormat>Widescreen</PresentationFormat>
  <Paragraphs>48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Supply Analysis Working Group Update April 2023 Update to WMS  </vt:lpstr>
      <vt:lpstr>Overview</vt:lpstr>
      <vt:lpstr>Annual DG Report Status</vt:lpstr>
      <vt:lpstr>Reliability Standard Framework Study</vt:lpstr>
      <vt:lpstr>Reserve Margin Study Status</vt:lpstr>
      <vt:lpstr>Reserve Margin Study Status</vt:lpstr>
      <vt:lpstr>Spring SARA Highlights</vt:lpstr>
      <vt:lpstr>Spring SARA Highlights</vt:lpstr>
      <vt:lpstr>‘Monthly Assessment of Resource Adequacy’ Planning Update</vt:lpstr>
      <vt:lpstr>Large Flexible Load Update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Hanson, Kevin</cp:lastModifiedBy>
  <cp:revision>5</cp:revision>
  <cp:lastPrinted>2018-08-10T07:16:05Z</cp:lastPrinted>
  <dcterms:created xsi:type="dcterms:W3CDTF">2021-05-20T11:21:33Z</dcterms:created>
  <dcterms:modified xsi:type="dcterms:W3CDTF">2023-03-30T15:3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</Properties>
</file>